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330" r:id="rId3"/>
    <p:sldId id="290" r:id="rId4"/>
    <p:sldId id="258" r:id="rId5"/>
    <p:sldId id="294" r:id="rId6"/>
    <p:sldId id="2145705952" r:id="rId7"/>
    <p:sldId id="2145705960" r:id="rId8"/>
    <p:sldId id="2145705955" r:id="rId9"/>
    <p:sldId id="2145705959" r:id="rId10"/>
    <p:sldId id="2145705957" r:id="rId11"/>
    <p:sldId id="2145705958" r:id="rId12"/>
    <p:sldId id="2145705962" r:id="rId13"/>
    <p:sldId id="2145705961" r:id="rId14"/>
    <p:sldId id="309" r:id="rId15"/>
    <p:sldId id="310" r:id="rId16"/>
    <p:sldId id="311" r:id="rId17"/>
    <p:sldId id="312" r:id="rId18"/>
    <p:sldId id="313" r:id="rId19"/>
    <p:sldId id="314" r:id="rId20"/>
    <p:sldId id="315" r:id="rId21"/>
    <p:sldId id="316" r:id="rId22"/>
    <p:sldId id="317" r:id="rId23"/>
    <p:sldId id="318" r:id="rId24"/>
    <p:sldId id="319" r:id="rId25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88" autoAdjust="0"/>
    <p:restoredTop sz="95373" autoAdjust="0"/>
  </p:normalViewPr>
  <p:slideViewPr>
    <p:cSldViewPr snapToGrid="0">
      <p:cViewPr>
        <p:scale>
          <a:sx n="66" d="100"/>
          <a:sy n="66" d="100"/>
        </p:scale>
        <p:origin x="1307" y="451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946B0-7E38-062A-674D-DC810E03D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449D2-40DD-F62A-4DC6-AE233D6983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93628F-EB18-E39D-5760-D9DA9CC656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E132A8-ADF2-E000-F7B4-D6C32E2578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2471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10D40-0BAD-FDE8-8176-0331E7F50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72DDC6-3C82-19DF-8605-61504CB9D0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91AB5-AA2B-07EC-609C-72C6310FF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B8E7E-DC17-4923-5D3A-F2FFB38DB25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1919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06C8B-DF48-F895-5045-C68E3D234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4D35B0-DEE5-EC58-43E0-06EEA9B19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163ADB-1A5A-5E63-5501-D42AB7C1E1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A25122-7585-4877-17F8-00A976F7CB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02548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ùng ảnh hiện vật + timeline lịch sử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2060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ACE26-3796-3EA8-FD77-5D4964158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D31400-A424-B744-49BA-DBFA0EB6B1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FD7BF-23BD-E4D4-5A6E-F64BC6467D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EE18A-894D-30AD-BD76-67AA1A1093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8681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186F69-0B05-8779-C373-0C352AF3DD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1DB8D4-8DF2-52CA-8B03-3D4E5B8652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E933A1-E372-AC5E-8FDF-BEB71AD86F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7A8FFD-6C43-1FD4-D296-410A48E7A47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6520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F7286-D5B4-D92C-8F91-71EDA1146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95AE96-6088-AD57-A00A-3894C7992C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20700-9C3B-A490-D934-BB54ABE667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92F6B-A396-554D-ADF5-C957C692CE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5886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ECFC7-88EB-C6D3-EE1D-1C33B2C6E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3660A5-C1D3-1494-59D0-760DAD5CE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C6F053-CAED-4BB8-EB3C-29755F6A6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5A3E1-C965-42E6-67E9-05DFF52C911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464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1.jp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1.jp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2EE76-E253-F3F0-F294-E9AD23A7CE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00F8B-A293-BBC6-9EDD-CAC258CD5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C68BF4-0538-A20E-C53E-D5EF2914B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5D23BCF-0C84-4D26-2790-2C5558346F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5D68FE9-5BE8-663A-F89F-513347278D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036DA-2A3B-18D9-8B93-EA0D51444F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BETTER VERSION OF YOURSELF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2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D4840-C225-7890-005C-F23E3E84C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CF9AEC-8497-D1DF-3131-A0B069068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latin typeface="+mj-lt"/>
                <a:cs typeface="Segoe UI Semibold" panose="020B0702040204020203" pitchFamily="34" charset="0"/>
              </a:rPr>
              <a:t>Better version of yourself</a:t>
            </a: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C4185B44-C4EC-AD79-F998-53635B1EE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636443"/>
              </p:ext>
            </p:extLst>
          </p:nvPr>
        </p:nvGraphicFramePr>
        <p:xfrm>
          <a:off x="1040928" y="1098000"/>
          <a:ext cx="9719999" cy="3952832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Before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After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method to resolve problem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op-down approach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Basic SQL &amp; database desig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Able </a:t>
                      </a:r>
                      <a:r>
                        <a:rPr lang="en-US" sz="16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Blacker Sans Pro"/>
                          <a:ea typeface="+mn-ea"/>
                          <a:cs typeface="+mn-cs"/>
                          <a:sym typeface="Arial"/>
                        </a:rPr>
                        <a:t>analysis</a:t>
                      </a:r>
                      <a:r>
                        <a:rPr lang="en-US" sz="1600" dirty="0">
                          <a:latin typeface="Blacker Sans Pro"/>
                        </a:rPr>
                        <a:t> to design, optimize databases, write querie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Minimal Agile knowledg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Comfortable working with Scrum &amp; Agile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No write Unit test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Write Unit test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ow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Improve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ow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Improve Teamwork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799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Low confidence in communication &amp; presentation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latin typeface="Blacker Sans Pro"/>
                        </a:rPr>
                        <a:t>Improved English, </a:t>
                      </a:r>
                      <a:r>
                        <a:rPr lang="en-US" sz="1600" dirty="0" err="1">
                          <a:latin typeface="Blacker Sans Pro"/>
                        </a:rPr>
                        <a:t>presenttation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51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D350A-186F-66ED-B8FA-AAA14891A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8DF064-99A5-E1F0-79EF-964EA2030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00F8B-A293-BBC6-9EDD-CAC258CD5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80FBB3B-0381-8977-C32A-2524D7442A0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3A4FEC5-B17D-D349-EFE0-8EDF4CA0CA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62B5DE-F978-F959-0253-9F989E22C9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ACTIVITY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3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770D9F-44FB-B542-E2B6-201004253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098000"/>
            <a:ext cx="5232200" cy="121848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ommunicate English with foreigners</a:t>
            </a:r>
          </a:p>
          <a:p>
            <a:r>
              <a:rPr lang="en-US" dirty="0"/>
              <a:t>Visit </a:t>
            </a:r>
            <a:r>
              <a:rPr lang="en-US" dirty="0" err="1"/>
              <a:t>VietNamese</a:t>
            </a:r>
            <a:r>
              <a:rPr lang="en-US" dirty="0"/>
              <a:t> Museum and learn about histor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C63F1B-2928-CBA8-1C7E-390F1C4B1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Activ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C1195A-A808-C990-E8B3-6A1319EE5B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425" r="-3366"/>
          <a:stretch>
            <a:fillRect/>
          </a:stretch>
        </p:blipFill>
        <p:spPr>
          <a:xfrm>
            <a:off x="0" y="3988840"/>
            <a:ext cx="3169920" cy="2869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7D6681-E7B6-7A4A-546B-AAD831E0383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278" r="3595"/>
          <a:stretch>
            <a:fillRect/>
          </a:stretch>
        </p:blipFill>
        <p:spPr>
          <a:xfrm>
            <a:off x="3066694" y="3988840"/>
            <a:ext cx="4528922" cy="2869160"/>
          </a:xfrm>
          <a:prstGeom prst="rect">
            <a:avLst/>
          </a:prstGeom>
        </p:spPr>
      </p:pic>
      <p:pic>
        <p:nvPicPr>
          <p:cNvPr id="12" name="Picture 11" descr="A group of people standing in a room&#10;&#10;AI-generated content may be incorrect.">
            <a:extLst>
              <a:ext uri="{FF2B5EF4-FFF2-40B4-BE49-F238E27FC236}">
                <a16:creationId xmlns:a16="http://schemas.microsoft.com/office/drawing/2014/main" id="{78F34F78-AA1B-51DC-0020-8FA5AB365E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" t="21235" r="4330"/>
          <a:stretch>
            <a:fillRect/>
          </a:stretch>
        </p:blipFill>
        <p:spPr>
          <a:xfrm>
            <a:off x="7595616" y="3988840"/>
            <a:ext cx="4596384" cy="290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US" dirty="0">
                <a:solidFill>
                  <a:srgbClr val="C00000"/>
                </a:solidFill>
              </a:rPr>
              <a:t>24/8/2025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24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dirty="0">
                <a:solidFill>
                  <a:srgbClr val="C00000"/>
                </a:solidFill>
              </a:rPr>
              <a:t>Milestone Review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Key Achievements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Challenges &amp; Solution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Better version of yourself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citity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+mn-lt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F3F7B1-103B-8515-9AC9-AED8EE16A7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E31AE0-5D75-F006-79F5-2342377256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EC3C3B6-ACBC-9BB1-6D4B-EAF108A9E3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4BA8827-C108-468F-AEB5-867880062C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F4AD8-DE49-D350-2D3B-548D91013D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KEY ACHIEVEMENTS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3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E1184-F80D-B374-F2AC-91E810C73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A32074-9F61-F29F-B3ED-54A70EA64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dirty="0"/>
              <a:t>Key Achievement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16D35BFA-41C7-426B-C9DF-B6F017C34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437676"/>
              </p:ext>
            </p:extLst>
          </p:nvPr>
        </p:nvGraphicFramePr>
        <p:xfrm>
          <a:off x="432000" y="1098001"/>
          <a:ext cx="11284512" cy="4983604"/>
        </p:xfrm>
        <a:graphic>
          <a:graphicData uri="http://schemas.openxmlformats.org/drawingml/2006/table">
            <a:tbl>
              <a:tblPr/>
              <a:tblGrid>
                <a:gridCol w="3820428">
                  <a:extLst>
                    <a:ext uri="{9D8B030D-6E8A-4147-A177-3AD203B41FA5}">
                      <a16:colId xmlns:a16="http://schemas.microsoft.com/office/drawing/2014/main" val="3166077192"/>
                    </a:ext>
                  </a:extLst>
                </a:gridCol>
                <a:gridCol w="3820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3656">
                  <a:extLst>
                    <a:ext uri="{9D8B030D-6E8A-4147-A177-3AD203B41FA5}">
                      <a16:colId xmlns:a16="http://schemas.microsoft.com/office/drawing/2014/main" val="3377811614"/>
                    </a:ext>
                  </a:extLst>
                </a:gridCol>
              </a:tblGrid>
              <a:tr h="7208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3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latin typeface="Blacker Sans Pro"/>
                        </a:rPr>
                        <a:t>Technical Skills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800" b="1" dirty="0">
                          <a:latin typeface="Blacker Sans Pro"/>
                        </a:rPr>
                        <a:t>Process &amp; Methodology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/>
                      <a:r>
                        <a:rPr lang="en-US" sz="1800" b="1" dirty="0">
                          <a:latin typeface="Blacker Sans Pro"/>
                        </a:rPr>
                        <a:t>Soft Skill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Database Design</a:t>
                      </a:r>
                      <a:r>
                        <a:rPr lang="en-US" sz="1400" dirty="0">
                          <a:latin typeface="Blacker Sans Pro"/>
                        </a:rPr>
                        <a:t>: ERD, Normalization/Denormaliza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Top-down Approach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Critical Thinking &amp; Decision Making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SQL Queries, Optimization</a:t>
                      </a:r>
                      <a:r>
                        <a:rPr lang="fr-FR" sz="1400" dirty="0">
                          <a:latin typeface="Blacker Sans Pro"/>
                        </a:rPr>
                        <a:t>(</a:t>
                      </a:r>
                      <a:r>
                        <a:rPr lang="fr-FR" sz="1400" dirty="0" err="1">
                          <a:latin typeface="Blacker Sans Pro"/>
                        </a:rPr>
                        <a:t>Caching</a:t>
                      </a:r>
                      <a:r>
                        <a:rPr lang="fr-FR" sz="1400" dirty="0">
                          <a:latin typeface="Blacker Sans Pro"/>
                        </a:rPr>
                        <a:t>, NOLOCK usage, </a:t>
                      </a:r>
                      <a:r>
                        <a:rPr lang="en-US" sz="1400" dirty="0">
                          <a:latin typeface="Blacker Sans Pro"/>
                        </a:rPr>
                        <a:t>Pagination</a:t>
                      </a:r>
                      <a:r>
                        <a:rPr lang="fr-FR" sz="1400" dirty="0">
                          <a:latin typeface="Blacker Sans Pro"/>
                        </a:rPr>
                        <a:t>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Requirement Analysis:</a:t>
                      </a:r>
                      <a:r>
                        <a:rPr lang="en-US" sz="1400" dirty="0">
                          <a:latin typeface="Blacker Sans Pro"/>
                        </a:rPr>
                        <a:t> Trello case stud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Communic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English Clu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Presentation 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Testing:</a:t>
                      </a:r>
                      <a:r>
                        <a:rPr lang="en-US" sz="1400" dirty="0">
                          <a:latin typeface="Blacker Sans Pro"/>
                        </a:rPr>
                        <a:t> Unit Tests, Query Testing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Agile &amp; Scrum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Blacker Sans Pro"/>
                        </a:rPr>
                        <a:t>Smark</a:t>
                      </a:r>
                      <a:r>
                        <a:rPr lang="en-US" sz="1400" dirty="0">
                          <a:latin typeface="Blacker Sans Pro"/>
                        </a:rPr>
                        <a:t> Question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Dependency Injection &amp; API Design (HATEOAS).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BPMN, Use Case Diagram, Data Flow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Problem Solving </a:t>
                      </a: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lacker Sans Pro"/>
                        </a:rPr>
                        <a:t>Naming &amp; Formatting:</a:t>
                      </a:r>
                      <a:r>
                        <a:rPr lang="en-US" sz="1400" dirty="0">
                          <a:latin typeface="Blacker Sans Pro"/>
                        </a:rPr>
                        <a:t> SQL Scripts, Functions, DTO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Excel (sample data)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Blacker Sans Pro"/>
                        </a:rPr>
                        <a:t>Time Management</a:t>
                      </a: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4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4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CB89BD-569C-BE73-B23C-E54E546D4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C68BF4-0538-A20E-C53E-D5EF2914B8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BA17DE-B326-F58C-F449-3BF22DA93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0C85775-DF5C-84CA-1009-798DF498D5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149E2F58-D29C-5956-60D5-8455587CD9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>
                <a:solidFill>
                  <a:srgbClr val="C00000"/>
                </a:solidFill>
              </a:rPr>
              <a:t>Bbv</a:t>
            </a:r>
            <a:endParaRPr lang="en-GB" dirty="0">
              <a:solidFill>
                <a:srgbClr val="C00000"/>
              </a:solidFill>
            </a:endParaRPr>
          </a:p>
          <a:p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2BEEC-2715-312E-5F28-CCCC3607E6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>
                <a:solidFill>
                  <a:srgbClr val="C00000"/>
                </a:solidFill>
              </a:rPr>
              <a:t>CHALLENGES &amp; SOLUTION</a:t>
            </a:r>
            <a:endParaRPr lang="en-GB" sz="4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35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F5BAC9-5261-BA82-23C3-D63A96060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AE1F583-9CD3-5A05-8E3C-5024D9E96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/>
            <a:r>
              <a:rPr lang="en-US" noProof="1">
                <a:cs typeface="Segoe UI Semibold" panose="020B0702040204020203" pitchFamily="34" charset="0"/>
              </a:rPr>
              <a:t>Challenges &amp; Solutions</a:t>
            </a:r>
            <a:endParaRPr lang="en-US" noProof="1">
              <a:latin typeface="+mj-lt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e 20">
            <a:extLst>
              <a:ext uri="{FF2B5EF4-FFF2-40B4-BE49-F238E27FC236}">
                <a16:creationId xmlns:a16="http://schemas.microsoft.com/office/drawing/2014/main" id="{F6CFFA73-5493-DBD5-68CD-FC30275D6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59034"/>
              </p:ext>
            </p:extLst>
          </p:nvPr>
        </p:nvGraphicFramePr>
        <p:xfrm>
          <a:off x="1040928" y="1098000"/>
          <a:ext cx="9719999" cy="3207822"/>
        </p:xfrm>
        <a:graphic>
          <a:graphicData uri="http://schemas.openxmlformats.org/drawingml/2006/table">
            <a:tbl>
              <a:tblPr/>
              <a:tblGrid>
                <a:gridCol w="4583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6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Challeng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Blacker Sans Pro Bold"/>
                          <a:ea typeface="Blacker Sans Pro Bold"/>
                          <a:cs typeface="Blacker Sans Pro Bold"/>
                          <a:sym typeface="Blacker Sans Pro Bold"/>
                        </a:rPr>
                        <a:t>Solution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Requirement Analys</a:t>
                      </a: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Observe  detail each screen to define entities</a:t>
                      </a:r>
                      <a:endParaRPr lang="en-US" sz="1600" dirty="0">
                        <a:latin typeface="Blacker Sans Pro"/>
                      </a:endParaRPr>
                    </a:p>
                    <a:p>
                      <a:pPr algn="l">
                        <a:lnSpc>
                          <a:spcPts val="2400"/>
                        </a:lnSpc>
                        <a:defRPr/>
                      </a:pPr>
                      <a:endParaRPr lang="en-US" sz="1600" dirty="0">
                        <a:latin typeface="Blacker Sans Pro"/>
                      </a:endParaRPr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Queries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Phân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tích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câu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queries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để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biết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lấy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tu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bảng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nào</a:t>
                      </a: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 join table </a:t>
                      </a:r>
                      <a:r>
                        <a:rPr lang="en-US" sz="1600" dirty="0" err="1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nào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Unit test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Speaking English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Problem of task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sym typeface="Blacker Sans Pro"/>
                        </a:rPr>
                        <a:t>Teamwork &amp; Top-approach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4104">
                <a:tc>
                  <a:txBody>
                    <a:bodyPr/>
                    <a:lstStyle/>
                    <a:p>
                      <a:pPr algn="l">
                        <a:lnSpc>
                          <a:spcPts val="2399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English communication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400"/>
                        </a:lnSpc>
                        <a:defRPr/>
                      </a:pPr>
                      <a:r>
                        <a:rPr lang="en-US" sz="1600" dirty="0">
                          <a:solidFill>
                            <a:srgbClr val="2A2E3F"/>
                          </a:solidFill>
                          <a:latin typeface="Blacker Sans Pro"/>
                          <a:ea typeface="Blacker Sans Pro"/>
                          <a:cs typeface="Blacker Sans Pro"/>
                          <a:sym typeface="Blacker Sans Pro"/>
                        </a:rPr>
                        <a:t>Speaking English</a:t>
                      </a:r>
                      <a:endParaRPr lang="en-US" sz="900" dirty="0"/>
                    </a:p>
                  </a:txBody>
                  <a:tcPr marL="75154" marR="75154" marT="75154" marB="75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25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77</TotalTime>
  <Words>908</Words>
  <Application>Microsoft Office PowerPoint</Application>
  <PresentationFormat>Widescreen</PresentationFormat>
  <Paragraphs>193</Paragraphs>
  <Slides>24</Slides>
  <Notes>24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Blacker Sans Pro</vt:lpstr>
      <vt:lpstr>Blacker Sans Pro Bold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Milestone Review</vt:lpstr>
      <vt:lpstr>Agenda</vt:lpstr>
      <vt:lpstr>INTRODUCTION</vt:lpstr>
      <vt:lpstr>KEY ACHIEVEMENTS</vt:lpstr>
      <vt:lpstr>Key Achievements</vt:lpstr>
      <vt:lpstr>CHALLENGES &amp; SOLUTION</vt:lpstr>
      <vt:lpstr>Challenges &amp; Solutions</vt:lpstr>
      <vt:lpstr>BETTER VERSION OF YOURSELF</vt:lpstr>
      <vt:lpstr>Better version of yourself</vt:lpstr>
      <vt:lpstr>ACTIVITY</vt:lpstr>
      <vt:lpstr>Activity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15</cp:revision>
  <dcterms:created xsi:type="dcterms:W3CDTF">2025-07-10T03:51:23Z</dcterms:created>
  <dcterms:modified xsi:type="dcterms:W3CDTF">2025-08-25T02:07:53Z</dcterms:modified>
</cp:coreProperties>
</file>